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4.xml" ContentType="application/vnd.openxmlformats-officedocument.presentationml.tags+xml"/>
  <Override PartName="/ppt/notesSlides/notesSlide1.xml" ContentType="application/vnd.openxmlformats-officedocument.presentationml.notesSlide+xml"/>
  <Override PartName="/ppt/tags/tag10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  <p:sldMasterId id="2147483710" r:id="rId9"/>
    <p:sldMasterId id="2147483719" r:id="rId10"/>
    <p:sldMasterId id="2147483728" r:id="rId11"/>
    <p:sldMasterId id="2147483737" r:id="rId12"/>
  </p:sldMasterIdLst>
  <p:notesMasterIdLst>
    <p:notesMasterId r:id="rId15"/>
  </p:notesMasterIdLst>
  <p:handoutMasterIdLst>
    <p:handoutMasterId r:id="rId16"/>
  </p:handoutMasterIdLst>
  <p:sldIdLst>
    <p:sldId id="1979" r:id="rId13"/>
    <p:sldId id="1980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EFCE"/>
    <a:srgbClr val="EBF6DE"/>
    <a:srgbClr val="D9D9D9"/>
    <a:srgbClr val="F7F7F7"/>
    <a:srgbClr val="92D050"/>
    <a:srgbClr val="FF0000"/>
    <a:srgbClr val="00B050"/>
    <a:srgbClr val="EBF2FF"/>
    <a:srgbClr val="C0000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9" autoAdjust="0"/>
    <p:restoredTop sz="94987" autoAdjust="0"/>
  </p:normalViewPr>
  <p:slideViewPr>
    <p:cSldViewPr snapToGrid="0">
      <p:cViewPr varScale="1">
        <p:scale>
          <a:sx n="104" d="100"/>
          <a:sy n="104" d="100"/>
        </p:scale>
        <p:origin x="1212" y="11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9244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B5E3E4B9-B753-4CD4-9C55-1054A4F7AC5B}"/>
    <pc:docChg chg="undo custSel modSld">
      <pc:chgData name="Aurelien Domont" userId="6da7715ce44349b3" providerId="LiveId" clId="{B5E3E4B9-B753-4CD4-9C55-1054A4F7AC5B}" dt="2021-04-29T06:44:16.192" v="31" actId="113"/>
      <pc:docMkLst>
        <pc:docMk/>
      </pc:docMkLst>
      <pc:sldChg chg="modSp mod">
        <pc:chgData name="Aurelien Domont" userId="6da7715ce44349b3" providerId="LiveId" clId="{B5E3E4B9-B753-4CD4-9C55-1054A4F7AC5B}" dt="2021-04-29T06:36:09.543" v="16" actId="113"/>
        <pc:sldMkLst>
          <pc:docMk/>
          <pc:sldMk cId="317099162" sldId="1749"/>
        </pc:sldMkLst>
        <pc:spChg chg="mod">
          <ac:chgData name="Aurelien Domont" userId="6da7715ce44349b3" providerId="LiveId" clId="{B5E3E4B9-B753-4CD4-9C55-1054A4F7AC5B}" dt="2021-04-29T06:36:09.543" v="16" actId="113"/>
          <ac:spMkLst>
            <pc:docMk/>
            <pc:sldMk cId="317099162" sldId="1749"/>
            <ac:spMk id="14" creationId="{58BC295C-D6CC-4682-B176-A5677EB177D0}"/>
          </ac:spMkLst>
        </pc:spChg>
      </pc:sldChg>
      <pc:sldChg chg="modSp mod">
        <pc:chgData name="Aurelien Domont" userId="6da7715ce44349b3" providerId="LiveId" clId="{B5E3E4B9-B753-4CD4-9C55-1054A4F7AC5B}" dt="2021-04-29T06:39:27.942" v="17" actId="120"/>
        <pc:sldMkLst>
          <pc:docMk/>
          <pc:sldMk cId="235018652" sldId="1927"/>
        </pc:sldMkLst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" creationId="{CE2529A3-BA97-486F-9E02-8DFAAA7D8D38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2" creationId="{4C65153E-2DC5-4549-9BEA-3CBB7CE57BA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4" creationId="{57B39C43-1692-4644-9018-578041BDAC00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5" creationId="{68CAC4AC-FC9D-495D-A867-A1F7DFAB5EE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7" creationId="{8DD3C8A5-5216-47D7-8F63-A1BED34F803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9" creationId="{99497429-E6FA-47CD-BD12-B83ECF06216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42" creationId="{8AB09FC8-C5F5-4297-AD26-D8245375169B}"/>
          </ac:spMkLst>
        </pc:spChg>
      </pc:sldChg>
      <pc:sldChg chg="modSp mod">
        <pc:chgData name="Aurelien Domont" userId="6da7715ce44349b3" providerId="LiveId" clId="{B5E3E4B9-B753-4CD4-9C55-1054A4F7AC5B}" dt="2021-04-29T06:39:45.301" v="18" actId="120"/>
        <pc:sldMkLst>
          <pc:docMk/>
          <pc:sldMk cId="784211076" sldId="1931"/>
        </pc:sldMkLst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2" creationId="{EE78CAB5-920F-4474-9507-223D946A101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4" creationId="{E8E79278-3E47-491E-80C4-2745363AB20D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5" creationId="{AE266B61-A26F-4864-A119-B73D8D3EEFE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7" creationId="{473EDCDD-9075-40AB-A47F-8FF455A2E444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9" creationId="{25B98639-8371-4BB9-9FA0-6591943AEA62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1" creationId="{60047BC4-494E-465F-BB2C-37A58D27A8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3" creationId="{067232F5-DCB9-418C-AF5E-20A9ADF37A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5" creationId="{3C667C76-9848-4E10-980B-6994068638EA}"/>
          </ac:spMkLst>
        </pc:spChg>
      </pc:sldChg>
      <pc:sldChg chg="modSp mod">
        <pc:chgData name="Aurelien Domont" userId="6da7715ce44349b3" providerId="LiveId" clId="{B5E3E4B9-B753-4CD4-9C55-1054A4F7AC5B}" dt="2021-04-29T06:41:18.974" v="20" actId="113"/>
        <pc:sldMkLst>
          <pc:docMk/>
          <pc:sldMk cId="1403188377" sldId="1942"/>
        </pc:sldMkLst>
        <pc:spChg chg="mod">
          <ac:chgData name="Aurelien Domont" userId="6da7715ce44349b3" providerId="LiveId" clId="{B5E3E4B9-B753-4CD4-9C55-1054A4F7AC5B}" dt="2021-04-29T06:41:18.974" v="20" actId="113"/>
          <ac:spMkLst>
            <pc:docMk/>
            <pc:sldMk cId="1403188377" sldId="1942"/>
            <ac:spMk id="7" creationId="{2BB58BFC-0D2E-4A7A-8857-596DF7877E0D}"/>
          </ac:spMkLst>
        </pc:spChg>
      </pc:sldChg>
      <pc:sldChg chg="modSp mod">
        <pc:chgData name="Aurelien Domont" userId="6da7715ce44349b3" providerId="LiveId" clId="{B5E3E4B9-B753-4CD4-9C55-1054A4F7AC5B}" dt="2021-04-29T06:43:35.362" v="22" actId="113"/>
        <pc:sldMkLst>
          <pc:docMk/>
          <pc:sldMk cId="2434730998" sldId="1964"/>
        </pc:sldMkLst>
        <pc:spChg chg="mod">
          <ac:chgData name="Aurelien Domont" userId="6da7715ce44349b3" providerId="LiveId" clId="{B5E3E4B9-B753-4CD4-9C55-1054A4F7AC5B}" dt="2021-04-29T06:43:35.362" v="22" actId="113"/>
          <ac:spMkLst>
            <pc:docMk/>
            <pc:sldMk cId="2434730998" sldId="1964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45.298" v="24" actId="113"/>
        <pc:sldMkLst>
          <pc:docMk/>
          <pc:sldMk cId="2118611170" sldId="1965"/>
        </pc:sldMkLst>
        <pc:spChg chg="mod">
          <ac:chgData name="Aurelien Domont" userId="6da7715ce44349b3" providerId="LiveId" clId="{B5E3E4B9-B753-4CD4-9C55-1054A4F7AC5B}" dt="2021-04-29T06:43:45.298" v="24" actId="113"/>
          <ac:spMkLst>
            <pc:docMk/>
            <pc:sldMk cId="2118611170" sldId="1965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52.504" v="26" actId="113"/>
        <pc:sldMkLst>
          <pc:docMk/>
          <pc:sldMk cId="708328687" sldId="1966"/>
        </pc:sldMkLst>
        <pc:spChg chg="mod">
          <ac:chgData name="Aurelien Domont" userId="6da7715ce44349b3" providerId="LiveId" clId="{B5E3E4B9-B753-4CD4-9C55-1054A4F7AC5B}" dt="2021-04-29T06:43:52.504" v="26" actId="113"/>
          <ac:spMkLst>
            <pc:docMk/>
            <pc:sldMk cId="708328687" sldId="1966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4:10.506" v="29" actId="33524"/>
        <pc:sldMkLst>
          <pc:docMk/>
          <pc:sldMk cId="3081941897" sldId="1967"/>
        </pc:sldMkLst>
        <pc:spChg chg="mod">
          <ac:chgData name="Aurelien Domont" userId="6da7715ce44349b3" providerId="LiveId" clId="{B5E3E4B9-B753-4CD4-9C55-1054A4F7AC5B}" dt="2021-04-29T06:44:02.469" v="28" actId="113"/>
          <ac:spMkLst>
            <pc:docMk/>
            <pc:sldMk cId="3081941897" sldId="1967"/>
            <ac:spMk id="29" creationId="{E7057E1C-0379-4BF8-AFA9-1ADE9F123A50}"/>
          </ac:spMkLst>
        </pc:spChg>
        <pc:spChg chg="mod">
          <ac:chgData name="Aurelien Domont" userId="6da7715ce44349b3" providerId="LiveId" clId="{B5E3E4B9-B753-4CD4-9C55-1054A4F7AC5B}" dt="2021-04-29T06:44:10.506" v="29" actId="33524"/>
          <ac:spMkLst>
            <pc:docMk/>
            <pc:sldMk cId="3081941897" sldId="1967"/>
            <ac:spMk id="31" creationId="{12BD58FF-B47F-4554-8B05-4AA19AC62680}"/>
          </ac:spMkLst>
        </pc:spChg>
      </pc:sldChg>
      <pc:sldChg chg="modSp mod">
        <pc:chgData name="Aurelien Domont" userId="6da7715ce44349b3" providerId="LiveId" clId="{B5E3E4B9-B753-4CD4-9C55-1054A4F7AC5B}" dt="2021-04-29T06:44:16.192" v="31" actId="113"/>
        <pc:sldMkLst>
          <pc:docMk/>
          <pc:sldMk cId="3440858440" sldId="1968"/>
        </pc:sldMkLst>
        <pc:spChg chg="mod">
          <ac:chgData name="Aurelien Domont" userId="6da7715ce44349b3" providerId="LiveId" clId="{B5E3E4B9-B753-4CD4-9C55-1054A4F7AC5B}" dt="2021-04-29T06:44:16.192" v="31" actId="113"/>
          <ac:spMkLst>
            <pc:docMk/>
            <pc:sldMk cId="3440858440" sldId="1968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7T06:35:29.412" v="14" actId="14100"/>
        <pc:sldMkLst>
          <pc:docMk/>
          <pc:sldMk cId="3954766657" sldId="1969"/>
        </pc:sldMkLst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3" creationId="{D0C08E85-6656-4D70-A634-B81EEB60AA99}"/>
          </ac:spMkLst>
        </pc:spChg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4" creationId="{E2A79F9E-459F-41E7-9331-768A9D1F23AD}"/>
          </ac:spMkLst>
        </pc:spChg>
      </pc:sldChg>
    </pc:docChg>
  </pc:docChgLst>
  <pc:docChgLst>
    <pc:chgData name="Aurelien Domont" userId="6da7715ce44349b3" providerId="LiveId" clId="{6A6B0844-7248-46C2-A656-2CE148A42A99}"/>
    <pc:docChg chg="modSld">
      <pc:chgData name="Aurelien Domont" userId="6da7715ce44349b3" providerId="LiveId" clId="{6A6B0844-7248-46C2-A656-2CE148A42A99}" dt="2021-07-09T05:38:18.194" v="0" actId="14100"/>
      <pc:docMkLst>
        <pc:docMk/>
      </pc:docMkLst>
      <pc:sldChg chg="modSp mod">
        <pc:chgData name="Aurelien Domont" userId="6da7715ce44349b3" providerId="LiveId" clId="{6A6B0844-7248-46C2-A656-2CE148A42A99}" dt="2021-07-09T05:38:18.194" v="0" actId="14100"/>
        <pc:sldMkLst>
          <pc:docMk/>
          <pc:sldMk cId="2974049731" sldId="1979"/>
        </pc:sldMkLst>
        <pc:graphicFrameChg chg="modGraphic">
          <ac:chgData name="Aurelien Domont" userId="6da7715ce44349b3" providerId="LiveId" clId="{6A6B0844-7248-46C2-A656-2CE148A42A99}" dt="2021-07-09T05:38:18.194" v="0" actId="14100"/>
          <ac:graphicFrameMkLst>
            <pc:docMk/>
            <pc:sldMk cId="2974049731" sldId="1979"/>
            <ac:graphicFrameMk id="18" creationId="{1F158F34-2128-4653-A8C6-9678A73B1B0A}"/>
          </ac:graphicFrameMkLst>
        </pc:graphicFrameChg>
      </pc:sldChg>
    </pc:docChg>
  </pc:docChgLst>
  <pc:docChgLst>
    <pc:chgData name="Aurelien Domont" userId="6da7715ce44349b3" providerId="LiveId" clId="{0C3781D8-0291-4093-812F-B77F3CF9DE35}"/>
    <pc:docChg chg="undo custSel addSld delSld modSld">
      <pc:chgData name="Aurelien Domont" userId="6da7715ce44349b3" providerId="LiveId" clId="{0C3781D8-0291-4093-812F-B77F3CF9DE35}" dt="2021-05-11T07:54:58.302" v="363" actId="14100"/>
      <pc:docMkLst>
        <pc:docMk/>
      </pc:docMkLst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131901387" sldId="25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692499981" sldId="159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754585881" sldId="1598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748962572" sldId="1599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853806433" sldId="160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17099162" sldId="174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4262757208" sldId="1792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504490806" sldId="179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767058056" sldId="179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713437184" sldId="188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792836084" sldId="1883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227587685" sldId="1884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820013767" sldId="1885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287084427" sldId="188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955017529" sldId="188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064639401" sldId="1889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4203379594" sldId="1890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239563003" sldId="189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677099460" sldId="189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324303879" sldId="1917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738554192" sldId="1918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4287792945" sldId="191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711813648" sldId="192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649006803" sldId="1921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022188194" sldId="1922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872329668" sldId="192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659127470" sldId="1924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597933806" sldId="1925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874123290" sldId="1926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35018652" sldId="1927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374159068" sldId="1928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802743741" sldId="192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948385396" sldId="193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784211076" sldId="1931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839386134" sldId="1932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631546691" sldId="193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360412850" sldId="1934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17604876" sldId="1935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580696589" sldId="1936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855966363" sldId="1937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589605413" sldId="1938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714325450" sldId="193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414149744" sldId="194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599795422" sldId="1941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403188377" sldId="1942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977576074" sldId="194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662017462" sldId="1944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128419591" sldId="1945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950953867" sldId="1946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632976083" sldId="1947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026069399" sldId="1948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01689330" sldId="194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802637173" sldId="195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799750334" sldId="1951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365333669" sldId="1952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931823183" sldId="195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636448820" sldId="1954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660112904" sldId="1955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87956599" sldId="1956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207806883" sldId="1957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7362875" sldId="1958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662162763" sldId="195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380287118" sldId="196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862939476" sldId="1961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371325009" sldId="196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434730998" sldId="1964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118611170" sldId="1965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708328687" sldId="1966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081941897" sldId="1967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440858440" sldId="1968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3954766657" sldId="1969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668275467" sldId="1970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529194852" sldId="1971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410991361" sldId="1972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653177920" sldId="1973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1373862011" sldId="1974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119972109" sldId="1975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078645186" sldId="1976"/>
        </pc:sldMkLst>
      </pc:sldChg>
      <pc:sldChg chg="del">
        <pc:chgData name="Aurelien Domont" userId="6da7715ce44349b3" providerId="LiveId" clId="{0C3781D8-0291-4093-812F-B77F3CF9DE35}" dt="2021-05-11T06:44:03.552" v="30" actId="47"/>
        <pc:sldMkLst>
          <pc:docMk/>
          <pc:sldMk cId="2474191175" sldId="1977"/>
        </pc:sldMkLst>
      </pc:sldChg>
      <pc:sldChg chg="delSp modSp del mod">
        <pc:chgData name="Aurelien Domont" userId="6da7715ce44349b3" providerId="LiveId" clId="{0C3781D8-0291-4093-812F-B77F3CF9DE35}" dt="2021-05-11T06:51:55.181" v="122" actId="47"/>
        <pc:sldMkLst>
          <pc:docMk/>
          <pc:sldMk cId="4089601017" sldId="1978"/>
        </pc:sldMkLst>
        <pc:spChg chg="mod">
          <ac:chgData name="Aurelien Domont" userId="6da7715ce44349b3" providerId="LiveId" clId="{0C3781D8-0291-4093-812F-B77F3CF9DE35}" dt="2021-05-11T06:43:14.292" v="29" actId="20577"/>
          <ac:spMkLst>
            <pc:docMk/>
            <pc:sldMk cId="4089601017" sldId="1978"/>
            <ac:spMk id="16" creationId="{6C2BB713-9637-4B9B-938F-E9768876782A}"/>
          </ac:spMkLst>
        </pc:spChg>
        <pc:picChg chg="del">
          <ac:chgData name="Aurelien Domont" userId="6da7715ce44349b3" providerId="LiveId" clId="{0C3781D8-0291-4093-812F-B77F3CF9DE35}" dt="2021-05-11T06:41:43.209" v="15" actId="478"/>
          <ac:picMkLst>
            <pc:docMk/>
            <pc:sldMk cId="4089601017" sldId="1978"/>
            <ac:picMk id="18" creationId="{CF98728F-14A4-4829-84E1-32F9218BEE5D}"/>
          </ac:picMkLst>
        </pc:picChg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403768916" sldId="1979"/>
        </pc:sldMkLst>
      </pc:sldChg>
      <pc:sldChg chg="addSp delSp modSp add mod">
        <pc:chgData name="Aurelien Domont" userId="6da7715ce44349b3" providerId="LiveId" clId="{0C3781D8-0291-4093-812F-B77F3CF9DE35}" dt="2021-05-11T07:16:24.099" v="282" actId="20577"/>
        <pc:sldMkLst>
          <pc:docMk/>
          <pc:sldMk cId="2974049731" sldId="1979"/>
        </pc:sldMkLst>
        <pc:spChg chg="mod">
          <ac:chgData name="Aurelien Domont" userId="6da7715ce44349b3" providerId="LiveId" clId="{0C3781D8-0291-4093-812F-B77F3CF9DE35}" dt="2021-05-11T07:16:24.099" v="282" actId="20577"/>
          <ac:spMkLst>
            <pc:docMk/>
            <pc:sldMk cId="2974049731" sldId="1979"/>
            <ac:spMk id="16" creationId="{6C2BB713-9637-4B9B-938F-E9768876782A}"/>
          </ac:spMkLst>
        </pc:spChg>
        <pc:spChg chg="add mod">
          <ac:chgData name="Aurelien Domont" userId="6da7715ce44349b3" providerId="LiveId" clId="{0C3781D8-0291-4093-812F-B77F3CF9DE35}" dt="2021-05-11T06:47:40.054" v="85" actId="12788"/>
          <ac:spMkLst>
            <pc:docMk/>
            <pc:sldMk cId="2974049731" sldId="1979"/>
            <ac:spMk id="21" creationId="{98801B3B-9143-4476-BE00-38568BD5BC00}"/>
          </ac:spMkLst>
        </pc:spChg>
        <pc:spChg chg="del">
          <ac:chgData name="Aurelien Domont" userId="6da7715ce44349b3" providerId="LiveId" clId="{0C3781D8-0291-4093-812F-B77F3CF9DE35}" dt="2021-05-11T06:44:43.556" v="33" actId="478"/>
          <ac:spMkLst>
            <pc:docMk/>
            <pc:sldMk cId="2974049731" sldId="1979"/>
            <ac:spMk id="25" creationId="{9A6CEB09-3B99-4D01-82DA-E3B96EF8B191}"/>
          </ac:spMkLst>
        </pc:spChg>
        <pc:graphicFrameChg chg="add mod modGraphic">
          <ac:chgData name="Aurelien Domont" userId="6da7715ce44349b3" providerId="LiveId" clId="{0C3781D8-0291-4093-812F-B77F3CF9DE35}" dt="2021-05-11T07:11:55.163" v="277" actId="20577"/>
          <ac:graphicFrameMkLst>
            <pc:docMk/>
            <pc:sldMk cId="2974049731" sldId="1979"/>
            <ac:graphicFrameMk id="18" creationId="{1F158F34-2128-4653-A8C6-9678A73B1B0A}"/>
          </ac:graphicFrameMkLst>
        </pc:graphicFrameChg>
        <pc:graphicFrameChg chg="del">
          <ac:chgData name="Aurelien Domont" userId="6da7715ce44349b3" providerId="LiveId" clId="{0C3781D8-0291-4093-812F-B77F3CF9DE35}" dt="2021-05-11T06:44:43.556" v="33" actId="478"/>
          <ac:graphicFrameMkLst>
            <pc:docMk/>
            <pc:sldMk cId="2974049731" sldId="1979"/>
            <ac:graphicFrameMk id="19" creationId="{4DFED127-9392-4948-96BF-81F42456E814}"/>
          </ac:graphicFrameMkLst>
        </pc:graphicFrameChg>
        <pc:cxnChg chg="del">
          <ac:chgData name="Aurelien Domont" userId="6da7715ce44349b3" providerId="LiveId" clId="{0C3781D8-0291-4093-812F-B77F3CF9DE35}" dt="2021-05-11T06:44:43.556" v="33" actId="478"/>
          <ac:cxnSpMkLst>
            <pc:docMk/>
            <pc:sldMk cId="2974049731" sldId="1979"/>
            <ac:cxnSpMk id="4" creationId="{68830F6B-810D-4714-9A2F-B5CE1F7BF245}"/>
          </ac:cxnSpMkLst>
        </pc:cxnChg>
        <pc:cxnChg chg="add mod">
          <ac:chgData name="Aurelien Domont" userId="6da7715ce44349b3" providerId="LiveId" clId="{0C3781D8-0291-4093-812F-B77F3CF9DE35}" dt="2021-05-11T06:47:40.054" v="85" actId="12788"/>
          <ac:cxnSpMkLst>
            <pc:docMk/>
            <pc:sldMk cId="2974049731" sldId="1979"/>
            <ac:cxnSpMk id="20" creationId="{1071D897-3A1A-49EF-A9AC-139B6DD1FE58}"/>
          </ac:cxnSpMkLst>
        </pc:cxnChg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828206272" sldId="1980"/>
        </pc:sldMkLst>
      </pc:sldChg>
      <pc:sldChg chg="addSp delSp modSp add mod">
        <pc:chgData name="Aurelien Domont" userId="6da7715ce44349b3" providerId="LiveId" clId="{0C3781D8-0291-4093-812F-B77F3CF9DE35}" dt="2021-05-11T07:54:58.302" v="363" actId="14100"/>
        <pc:sldMkLst>
          <pc:docMk/>
          <pc:sldMk cId="3998626003" sldId="1980"/>
        </pc:sldMkLst>
        <pc:spChg chg="add del mod">
          <ac:chgData name="Aurelien Domont" userId="6da7715ce44349b3" providerId="LiveId" clId="{0C3781D8-0291-4093-812F-B77F3CF9DE35}" dt="2021-05-11T07:54:37.195" v="356" actId="478"/>
          <ac:spMkLst>
            <pc:docMk/>
            <pc:sldMk cId="3998626003" sldId="1980"/>
            <ac:spMk id="5" creationId="{7D42C4F0-7DE6-4703-8813-E5D864B808A1}"/>
          </ac:spMkLst>
        </pc:spChg>
        <pc:spChg chg="add mod">
          <ac:chgData name="Aurelien Domont" userId="6da7715ce44349b3" providerId="LiveId" clId="{0C3781D8-0291-4093-812F-B77F3CF9DE35}" dt="2021-05-11T07:54:58.302" v="363" actId="14100"/>
          <ac:spMkLst>
            <pc:docMk/>
            <pc:sldMk cId="3998626003" sldId="1980"/>
            <ac:spMk id="6" creationId="{B85E3BFE-516C-4B89-8FC9-6D692816F816}"/>
          </ac:spMkLst>
        </pc:spChg>
        <pc:spChg chg="mod">
          <ac:chgData name="Aurelien Domont" userId="6da7715ce44349b3" providerId="LiveId" clId="{0C3781D8-0291-4093-812F-B77F3CF9DE35}" dt="2021-05-11T07:14:26.096" v="280" actId="20577"/>
          <ac:spMkLst>
            <pc:docMk/>
            <pc:sldMk cId="3998626003" sldId="1980"/>
            <ac:spMk id="16" creationId="{6C2BB713-9637-4B9B-938F-E9768876782A}"/>
          </ac:spMkLst>
        </pc:spChg>
        <pc:spChg chg="del">
          <ac:chgData name="Aurelien Domont" userId="6da7715ce44349b3" providerId="LiveId" clId="{0C3781D8-0291-4093-812F-B77F3CF9DE35}" dt="2021-05-11T07:00:19.704" v="255" actId="478"/>
          <ac:spMkLst>
            <pc:docMk/>
            <pc:sldMk cId="3998626003" sldId="1980"/>
            <ac:spMk id="21" creationId="{98801B3B-9143-4476-BE00-38568BD5BC00}"/>
          </ac:spMkLst>
        </pc:spChg>
        <pc:grpChg chg="del">
          <ac:chgData name="Aurelien Domont" userId="6da7715ce44349b3" providerId="LiveId" clId="{0C3781D8-0291-4093-812F-B77F3CF9DE35}" dt="2021-05-11T06:59:35.418" v="143" actId="478"/>
          <ac:grpSpMkLst>
            <pc:docMk/>
            <pc:sldMk cId="3998626003" sldId="1980"/>
            <ac:grpSpMk id="11" creationId="{EC2A2180-6431-4D4D-94CC-2B48EA186363}"/>
          </ac:grpSpMkLst>
        </pc:grpChg>
        <pc:graphicFrameChg chg="del">
          <ac:chgData name="Aurelien Domont" userId="6da7715ce44349b3" providerId="LiveId" clId="{0C3781D8-0291-4093-812F-B77F3CF9DE35}" dt="2021-05-11T07:00:19.704" v="255" actId="478"/>
          <ac:graphicFrameMkLst>
            <pc:docMk/>
            <pc:sldMk cId="3998626003" sldId="1980"/>
            <ac:graphicFrameMk id="18" creationId="{1F158F34-2128-4653-A8C6-9678A73B1B0A}"/>
          </ac:graphicFrameMkLst>
        </pc:graphicFrameChg>
        <pc:picChg chg="add mod">
          <ac:chgData name="Aurelien Domont" userId="6da7715ce44349b3" providerId="LiveId" clId="{0C3781D8-0291-4093-812F-B77F3CF9DE35}" dt="2021-05-11T07:54:54.617" v="361" actId="1076"/>
          <ac:picMkLst>
            <pc:docMk/>
            <pc:sldMk cId="3998626003" sldId="1980"/>
            <ac:picMk id="4" creationId="{EC17A3A3-F952-40E3-98C9-5FF72B7E4A96}"/>
          </ac:picMkLst>
        </pc:picChg>
        <pc:cxnChg chg="del">
          <ac:chgData name="Aurelien Domont" userId="6da7715ce44349b3" providerId="LiveId" clId="{0C3781D8-0291-4093-812F-B77F3CF9DE35}" dt="2021-05-11T07:00:19.704" v="255" actId="478"/>
          <ac:cxnSpMkLst>
            <pc:docMk/>
            <pc:sldMk cId="3998626003" sldId="1980"/>
            <ac:cxnSpMk id="20" creationId="{1071D897-3A1A-49EF-A9AC-139B6DD1FE58}"/>
          </ac:cxnSpMkLst>
        </pc:cxnChg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691820959" sldId="1981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425621628" sldId="198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978935005" sldId="1983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297949056" sldId="1984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823605290" sldId="1985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026744296" sldId="198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357942581" sldId="198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940386508" sldId="1988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299758324" sldId="1989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124419684" sldId="1990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05289071" sldId="1991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239629277" sldId="199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752228771" sldId="1993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158613024" sldId="1994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526698175" sldId="1995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049023689" sldId="199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142596438" sldId="199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206188045" sldId="1998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928808042" sldId="1999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600611330" sldId="2000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494454371" sldId="2001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160285512" sldId="200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011482222" sldId="2003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35415864" sldId="2004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673232207" sldId="2005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539105764" sldId="200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585643901" sldId="200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53376507" sldId="2008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938136842" sldId="2010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968255840" sldId="2011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300727758" sldId="201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690714282" sldId="2013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140429196" sldId="2014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874727100" sldId="2015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219283537" sldId="201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786852373" sldId="201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850178084" sldId="2018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391445569" sldId="2019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833432062" sldId="2020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884153820" sldId="2021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3266627109" sldId="2022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720365225" sldId="2023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200437321" sldId="2024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2510494898" sldId="2025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4191176648" sldId="2026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4065434126" sldId="2027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724289588" sldId="2028"/>
        </pc:sldMkLst>
      </pc:sldChg>
      <pc:sldChg chg="del">
        <pc:chgData name="Aurelien Domont" userId="6da7715ce44349b3" providerId="LiveId" clId="{0C3781D8-0291-4093-812F-B77F3CF9DE35}" dt="2021-05-11T06:44:09.883" v="31" actId="47"/>
        <pc:sldMkLst>
          <pc:docMk/>
          <pc:sldMk cId="1151893028" sldId="2029"/>
        </pc:sldMkLst>
      </pc:sldChg>
      <pc:sldChg chg="modSp add del mod">
        <pc:chgData name="Aurelien Domont" userId="6da7715ce44349b3" providerId="LiveId" clId="{0C3781D8-0291-4093-812F-B77F3CF9DE35}" dt="2021-05-11T06:43:05.297" v="27"/>
        <pc:sldMkLst>
          <pc:docMk/>
          <pc:sldMk cId="1493995719" sldId="2030"/>
        </pc:sldMkLst>
        <pc:spChg chg="mod">
          <ac:chgData name="Aurelien Domont" userId="6da7715ce44349b3" providerId="LiveId" clId="{0C3781D8-0291-4093-812F-B77F3CF9DE35}" dt="2021-05-11T06:43:04.902" v="26" actId="1076"/>
          <ac:spMkLst>
            <pc:docMk/>
            <pc:sldMk cId="1493995719" sldId="2030"/>
            <ac:spMk id="12" creationId="{AA8767EA-7BE6-45A2-A9E9-0F11473EE884}"/>
          </ac:spMkLst>
        </pc:spChg>
        <pc:grpChg chg="mod">
          <ac:chgData name="Aurelien Domont" userId="6da7715ce44349b3" providerId="LiveId" clId="{0C3781D8-0291-4093-812F-B77F3CF9DE35}" dt="2021-05-11T06:42:48.643" v="20" actId="1076"/>
          <ac:grpSpMkLst>
            <pc:docMk/>
            <pc:sldMk cId="1493995719" sldId="2030"/>
            <ac:grpSpMk id="11" creationId="{EC2A2180-6431-4D4D-94CC-2B48EA186363}"/>
          </ac:grpSpMkLst>
        </pc:grpChg>
        <pc:cxnChg chg="mod">
          <ac:chgData name="Aurelien Domont" userId="6da7715ce44349b3" providerId="LiveId" clId="{0C3781D8-0291-4093-812F-B77F3CF9DE35}" dt="2021-05-11T06:43:04.609" v="25" actId="1076"/>
          <ac:cxnSpMkLst>
            <pc:docMk/>
            <pc:sldMk cId="1493995719" sldId="2030"/>
            <ac:cxnSpMk id="15" creationId="{32E3B5B2-A076-4CFB-9BED-35524A2BB502}"/>
          </ac:cxnSpMkLst>
        </pc:cxnChg>
        <pc:cxnChg chg="mod">
          <ac:chgData name="Aurelien Domont" userId="6da7715ce44349b3" providerId="LiveId" clId="{0C3781D8-0291-4093-812F-B77F3CF9DE35}" dt="2021-05-11T06:43:04.278" v="24" actId="1076"/>
          <ac:cxnSpMkLst>
            <pc:docMk/>
            <pc:sldMk cId="1493995719" sldId="2030"/>
            <ac:cxnSpMk id="17" creationId="{0B7F03A6-5937-40F5-87F0-42F5D86E5A2C}"/>
          </ac:cxnSpMkLst>
        </pc:cxnChg>
      </pc:sldChg>
    </pc:docChg>
  </pc:docChgLst>
  <pc:docChgLst>
    <pc:chgData name="Aurelien Domont" userId="6da7715ce44349b3" providerId="LiveId" clId="{3120ADC0-11CA-4D44-8C30-0625BC2FF170}"/>
    <pc:docChg chg="custSel modSld">
      <pc:chgData name="Aurelien Domont" userId="6da7715ce44349b3" providerId="LiveId" clId="{3120ADC0-11CA-4D44-8C30-0625BC2FF170}" dt="2021-04-30T01:16:47.575" v="287" actId="20577"/>
      <pc:docMkLst>
        <pc:docMk/>
      </pc:docMkLst>
      <pc:sldChg chg="addSp modSp mod">
        <pc:chgData name="Aurelien Domont" userId="6da7715ce44349b3" providerId="LiveId" clId="{3120ADC0-11CA-4D44-8C30-0625BC2FF170}" dt="2021-04-30T01:16:47.575" v="287" actId="20577"/>
        <pc:sldMkLst>
          <pc:docMk/>
          <pc:sldMk cId="1659127470" sldId="1924"/>
        </pc:sldMkLst>
        <pc:spChg chg="add mod">
          <ac:chgData name="Aurelien Domont" userId="6da7715ce44349b3" providerId="LiveId" clId="{3120ADC0-11CA-4D44-8C30-0625BC2FF170}" dt="2021-04-29T07:05:48.694" v="122" actId="207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3120ADC0-11CA-4D44-8C30-0625BC2FF170}" dt="2021-04-30T01:05:37.562" v="174" actId="20577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3120ADC0-11CA-4D44-8C30-0625BC2FF170}" dt="2021-04-30T01:06:05.905" v="187" actId="20577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3120ADC0-11CA-4D44-8C30-0625BC2FF170}" dt="2021-04-30T01:06:53.718" v="227" actId="20577"/>
          <ac:spMkLst>
            <pc:docMk/>
            <pc:sldMk cId="1659127470" sldId="1924"/>
            <ac:spMk id="19" creationId="{554EE1B4-E11D-4B37-9F78-B5B5FA8738AA}"/>
          </ac:spMkLst>
        </pc:spChg>
        <pc:spChg chg="mod">
          <ac:chgData name="Aurelien Domont" userId="6da7715ce44349b3" providerId="LiveId" clId="{3120ADC0-11CA-4D44-8C30-0625BC2FF170}" dt="2021-04-30T01:15:47.976" v="276" actId="20577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3120ADC0-11CA-4D44-8C30-0625BC2FF170}" dt="2021-04-30T01:03:33.767" v="141" actId="20577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3120ADC0-11CA-4D44-8C30-0625BC2FF170}" dt="2021-04-30T01:16:47.575" v="287" actId="20577"/>
          <ac:spMkLst>
            <pc:docMk/>
            <pc:sldMk cId="1659127470" sldId="1924"/>
            <ac:spMk id="36" creationId="{DEACEA99-9E9A-408A-9277-86EFC1C60A69}"/>
          </ac:spMkLst>
        </pc:spChg>
      </pc:sldChg>
    </pc:docChg>
  </pc:docChgLst>
  <pc:docChgLst>
    <pc:chgData name="Aurelien Domont" userId="6da7715ce44349b3" providerId="LiveId" clId="{673D5AF3-7F98-4E18-80CE-01CD6ED7BC9D}"/>
    <pc:docChg chg="addSld delSld modSld">
      <pc:chgData name="Aurelien Domont" userId="6da7715ce44349b3" providerId="LiveId" clId="{673D5AF3-7F98-4E18-80CE-01CD6ED7BC9D}" dt="2021-04-21T04:24:27.041" v="1" actId="47"/>
      <pc:docMkLst>
        <pc:docMk/>
      </pc:docMkLst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3464255004" sldId="1693"/>
        </pc:sldMkLst>
      </pc:sldChg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81176075" sldId="2009"/>
        </pc:sldMkLst>
      </pc:sldChg>
      <pc:sldChg chg="add">
        <pc:chgData name="Aurelien Domont" userId="6da7715ce44349b3" providerId="LiveId" clId="{673D5AF3-7F98-4E18-80CE-01CD6ED7BC9D}" dt="2021-04-21T04:23:54.021" v="0"/>
        <pc:sldMkLst>
          <pc:docMk/>
          <pc:sldMk cId="1151893028" sldId="20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7/9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7/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869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643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1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984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303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810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78493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472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45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29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833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7508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47878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53269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86792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1309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844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72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5192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8268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63751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92641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10921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121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23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149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789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62290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24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983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0165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42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956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070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9753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61651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77422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639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40946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202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529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33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0121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70264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11818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3498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2410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6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5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36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534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AF961F-5277-4BE4-B8F6-3E070DD49E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315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AF961F-5277-4BE4-B8F6-3E070DD49E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3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9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33.xml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28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48.xml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47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37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62.x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78.xml"/><Relationship Id="rId5" Type="http://schemas.openxmlformats.org/officeDocument/2006/relationships/slideLayout" Target="../slideLayouts/slideLayout45.xml"/><Relationship Id="rId10" Type="http://schemas.openxmlformats.org/officeDocument/2006/relationships/tags" Target="../tags/tag77.x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55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93.xml"/><Relationship Id="rId5" Type="http://schemas.openxmlformats.org/officeDocument/2006/relationships/slideLayout" Target="../slideLayouts/slideLayout53.xml"/><Relationship Id="rId10" Type="http://schemas.openxmlformats.org/officeDocument/2006/relationships/tags" Target="../tags/tag92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5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97.xml"/><Relationship Id="rId5" Type="http://schemas.openxmlformats.org/officeDocument/2006/relationships/slideLayout" Target="../slideLayouts/slideLayout61.xml"/><Relationship Id="rId10" Type="http://schemas.openxmlformats.org/officeDocument/2006/relationships/tags" Target="../tags/tag96.x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69.xml"/><Relationship Id="rId10" Type="http://schemas.openxmlformats.org/officeDocument/2006/relationships/tags" Target="../tags/tag100.x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  <p:sldLayoutId id="214748367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9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5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63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50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42888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Day 1 Readiness Checklist</a:t>
            </a:r>
            <a:endParaRPr lang="en-GB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</a:t>
            </a:fld>
            <a:endParaRPr lang="en-US" sz="1000" dirty="0">
              <a:solidFill>
                <a:srgbClr val="ADAFBB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C2A2180-6431-4D4D-94CC-2B48EA186363}"/>
              </a:ext>
            </a:extLst>
          </p:cNvPr>
          <p:cNvGrpSpPr/>
          <p:nvPr/>
        </p:nvGrpSpPr>
        <p:grpSpPr>
          <a:xfrm>
            <a:off x="-1122" y="6570"/>
            <a:ext cx="1216373" cy="1188385"/>
            <a:chOff x="-9097" y="-23336"/>
            <a:chExt cx="974935" cy="952500"/>
          </a:xfrm>
        </p:grpSpPr>
        <p:sp>
          <p:nvSpPr>
            <p:cNvPr id="12" name="Diagonal Stripe 11">
              <a:extLst>
                <a:ext uri="{FF2B5EF4-FFF2-40B4-BE49-F238E27FC236}">
                  <a16:creationId xmlns:a16="http://schemas.microsoft.com/office/drawing/2014/main" id="{AA8767EA-7BE6-45A2-A9E9-0F11473EE884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EFBB82-ED51-4A6E-A2F1-A1C861CA1371}"/>
                </a:ext>
              </a:extLst>
            </p:cNvPr>
            <p:cNvSpPr txBox="1"/>
            <p:nvPr/>
          </p:nvSpPr>
          <p:spPr>
            <a:xfrm rot="18948199">
              <a:off x="53902" y="266480"/>
              <a:ext cx="635439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illustration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2E3B5B2-A076-4CFB-9BED-35524A2BB502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B7F03A6-5937-40F5-87F0-42F5D86E5A2C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graphicFrame>
        <p:nvGraphicFramePr>
          <p:cNvPr id="18" name="Group 3">
            <a:extLst>
              <a:ext uri="{FF2B5EF4-FFF2-40B4-BE49-F238E27FC236}">
                <a16:creationId xmlns:a16="http://schemas.microsoft.com/office/drawing/2014/main" id="{1F158F34-2128-4653-A8C6-9678A73B1B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645431"/>
              </p:ext>
            </p:extLst>
          </p:nvPr>
        </p:nvGraphicFramePr>
        <p:xfrm>
          <a:off x="604837" y="1850571"/>
          <a:ext cx="10982322" cy="466454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34764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4533">
                  <a:extLst>
                    <a:ext uri="{9D8B030D-6E8A-4147-A177-3AD203B41FA5}">
                      <a16:colId xmlns:a16="http://schemas.microsoft.com/office/drawing/2014/main" val="1858057564"/>
                    </a:ext>
                  </a:extLst>
                </a:gridCol>
                <a:gridCol w="964533">
                  <a:extLst>
                    <a:ext uri="{9D8B030D-6E8A-4147-A177-3AD203B41FA5}">
                      <a16:colId xmlns:a16="http://schemas.microsoft.com/office/drawing/2014/main" val="2419383784"/>
                    </a:ext>
                  </a:extLst>
                </a:gridCol>
                <a:gridCol w="7389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2293856819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1872980911"/>
                    </a:ext>
                  </a:extLst>
                </a:gridCol>
                <a:gridCol w="483783">
                  <a:extLst>
                    <a:ext uri="{9D8B030D-6E8A-4147-A177-3AD203B41FA5}">
                      <a16:colId xmlns:a16="http://schemas.microsoft.com/office/drawing/2014/main" val="1887288436"/>
                    </a:ext>
                  </a:extLst>
                </a:gridCol>
              </a:tblGrid>
              <a:tr h="34676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altLang="ja-JP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ＭＳ Ｐゴシック" pitchFamily="50" charset="-128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wner</a:t>
                      </a:r>
                    </a:p>
                  </a:txBody>
                  <a:tcPr marL="86399" marR="86399" marT="46804" marB="46804" anchor="ctr" horzOverflow="overflow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ue date</a:t>
                      </a:r>
                    </a:p>
                  </a:txBody>
                  <a:tcPr marL="86399" marR="86399" marT="46804" marB="46804" anchor="ctr" horzOverflow="overflow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atus</a:t>
                      </a:r>
                      <a:endParaRPr kumimoji="0" lang="en-GB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6399" marR="86399" marT="46804" marB="46804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A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pare internal communication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D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arch 12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one</a:t>
                      </a:r>
                      <a:endParaRPr kumimoji="0" lang="en-A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 dirty="0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62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pare external communication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Aurelien F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Jan 2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one</a:t>
                      </a:r>
                      <a:endParaRPr kumimoji="0" lang="en-A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 dirty="0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fine pricing policy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hristian G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Feb 2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one</a:t>
                      </a:r>
                      <a:endParaRPr kumimoji="0" lang="en-A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62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e General ledger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George P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rch 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pare welcome drink for new employee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George P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rch 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n Track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sales pitch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hristian G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rch 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te</a:t>
                      </a:r>
                      <a:endParaRPr lang="en-A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ign marketing message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George P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rch 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n Track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 dirty="0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fine the synergy target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George P.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rch 3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te</a:t>
                      </a:r>
                      <a:endParaRPr lang="en-A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1100" b="0" i="0" u="none" strike="noStrike" dirty="0">
                          <a:solidFill>
                            <a:srgbClr val="44546A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412207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e brand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n Track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301387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e products &amp; service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n Track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2752714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grate reporting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n Track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6478922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fine employee retention strategy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te</a:t>
                      </a:r>
                      <a:endParaRPr lang="en-A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1771013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tionalize employee compensations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te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524208"/>
                  </a:ext>
                </a:extLst>
              </a:tr>
              <a:tr h="304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2776"/>
                        </a:buClr>
                        <a:buSzTx/>
                        <a:buFont typeface="Arial" pitchFamily="34" charset="0"/>
                        <a:buNone/>
                        <a:tabLst>
                          <a:tab pos="5715000" algn="l"/>
                        </a:tabLst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ert name of activity</a:t>
                      </a: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AU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te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AU" sz="1100" b="0" i="0" u="none" strike="noStrike" dirty="0">
                        <a:solidFill>
                          <a:srgbClr val="44546A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GB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399" marR="86399" marT="46804" marB="46804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4672666"/>
                  </a:ext>
                </a:extLst>
              </a:tr>
            </a:tbl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71D897-3A1A-49EF-A9AC-139B6DD1FE58}"/>
              </a:ext>
            </a:extLst>
          </p:cNvPr>
          <p:cNvCxnSpPr>
            <a:cxnSpLocks/>
          </p:cNvCxnSpPr>
          <p:nvPr/>
        </p:nvCxnSpPr>
        <p:spPr>
          <a:xfrm>
            <a:off x="6770914" y="1668330"/>
            <a:ext cx="4816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8801B3B-9143-4476-BE00-38568BD5BC00}"/>
              </a:ext>
            </a:extLst>
          </p:cNvPr>
          <p:cNvSpPr txBox="1"/>
          <p:nvPr/>
        </p:nvSpPr>
        <p:spPr>
          <a:xfrm>
            <a:off x="8746697" y="1529831"/>
            <a:ext cx="864683" cy="276999"/>
          </a:xfrm>
          <a:prstGeom prst="rect">
            <a:avLst/>
          </a:prstGeom>
          <a:solidFill>
            <a:srgbClr val="F7F7F7"/>
          </a:solidFill>
        </p:spPr>
        <p:txBody>
          <a:bodyPr wrap="square" rtlCol="0" anchor="ctr">
            <a:sp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Weeks</a:t>
            </a:r>
          </a:p>
        </p:txBody>
      </p:sp>
    </p:spTree>
    <p:extLst>
      <p:ext uri="{BB962C8B-B14F-4D97-AF65-F5344CB8AC3E}">
        <p14:creationId xmlns:p14="http://schemas.microsoft.com/office/powerpoint/2010/main" val="2974049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42888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The Day-1 Readiness Checklist often includes many activities that will better fit in an Excel document</a:t>
            </a:r>
            <a:endParaRPr lang="en-GB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17A3A3-F952-40E3-98C9-5FF72B7E4A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9448" y="2812257"/>
            <a:ext cx="9602616" cy="3345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B85E3BFE-516C-4B89-8FC9-6D692816F816}"/>
              </a:ext>
            </a:extLst>
          </p:cNvPr>
          <p:cNvSpPr/>
          <p:nvPr/>
        </p:nvSpPr>
        <p:spPr>
          <a:xfrm>
            <a:off x="6433458" y="1551115"/>
            <a:ext cx="4735286" cy="1143528"/>
          </a:xfrm>
          <a:prstGeom prst="wedgeRoundRectCallout">
            <a:avLst>
              <a:gd name="adj1" fmla="val -35371"/>
              <a:gd name="adj2" fmla="val 132400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/>
              <a:t>Open the Excel document “1b. Day-1 Readiness Checklist” for more details 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98626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3</TotalTime>
  <Words>176</Words>
  <Application>Microsoft Office PowerPoint</Application>
  <PresentationFormat>Widescreen</PresentationFormat>
  <Paragraphs>7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rial</vt:lpstr>
      <vt:lpstr>Calibri</vt:lpstr>
      <vt:lpstr>Wingdings 2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think-cell Slide</vt:lpstr>
      <vt:lpstr>Day 1 Readiness Checklist</vt:lpstr>
      <vt:lpstr>The Day-1 Readiness Checklist often includes many activities that will better fit in an Excel docu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56</cp:revision>
  <dcterms:created xsi:type="dcterms:W3CDTF">2020-07-08T04:44:55Z</dcterms:created>
  <dcterms:modified xsi:type="dcterms:W3CDTF">2021-07-09T05:38:1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